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7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EAE-451C-B39B-45414881B1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224304"/>
        <c:axId val="444227664"/>
      </c:barChart>
      <c:catAx>
        <c:axId val="44422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  <c:max val="5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</c:v>
                </c:pt>
                <c:pt idx="3">
                  <c:v>4.5</c:v>
                </c:pt>
                <c:pt idx="4">
                  <c:v>3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51B-492A-B3EB-8225376AF0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4224304"/>
        <c:axId val="444227664"/>
      </c:lineChart>
      <c:catAx>
        <c:axId val="44422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  <c:max val="8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D33006-FFE9-F5D2-F7C9-43472FE28A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B807EEA-D81E-8C8C-496C-B0B676998B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807EEA-D81E-8C8C-496C-B0B676998B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DA5B951D-4C72-CD7C-52C4-D6A0F7ADC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olumn / Line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9C3DCD7A-CE60-636F-3546-EF9B23A06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C288BFFB-4D82-7307-A914-249C12278D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CDD8186E-9280-B84D-9057-A2EC98F19B9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FE1CC33F-A050-CBCE-62E3-1D76D423350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13" name="Chart Placeholder 12">
            <a:extLst>
              <a:ext uri="{FF2B5EF4-FFF2-40B4-BE49-F238E27FC236}">
                <a16:creationId xmlns:a16="http://schemas.microsoft.com/office/drawing/2014/main" id="{4E72899B-09AE-3A65-B901-127D345BFEF1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Chart Placeholder 12">
            <a:extLst>
              <a:ext uri="{FF2B5EF4-FFF2-40B4-BE49-F238E27FC236}">
                <a16:creationId xmlns:a16="http://schemas.microsoft.com/office/drawing/2014/main" id="{FDD1C9C6-8F48-E9A3-40B6-0EE95C25CCD5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378064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2</TotalTime>
  <Words>21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Column / Li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50</cp:revision>
  <dcterms:created xsi:type="dcterms:W3CDTF">2025-07-09T10:57:17Z</dcterms:created>
  <dcterms:modified xsi:type="dcterms:W3CDTF">2025-10-22T10:07:16Z</dcterms:modified>
  <cp:category/>
</cp:coreProperties>
</file>